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sldIdLst>
    <p:sldId id="267" r:id="rId2"/>
    <p:sldId id="268" r:id="rId3"/>
    <p:sldId id="269" r:id="rId4"/>
    <p:sldId id="270" r:id="rId5"/>
    <p:sldId id="271" r:id="rId6"/>
    <p:sldId id="272" r:id="rId7"/>
    <p:sldId id="273" r:id="rId8"/>
    <p:sldId id="274" r:id="rId9"/>
    <p:sldId id="275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70" d="100"/>
          <a:sy n="70" d="100"/>
        </p:scale>
        <p:origin x="536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6"/>
          <p:cNvSpPr>
            <a:spLocks noGrp="1"/>
          </p:cNvSpPr>
          <p:nvPr>
            <p:ph type="pic" sz="quarter" idx="19"/>
          </p:nvPr>
        </p:nvSpPr>
        <p:spPr>
          <a:xfrm>
            <a:off x="-9843" y="-6669"/>
            <a:ext cx="12204066" cy="6868059"/>
          </a:xfrm>
          <a:custGeom>
            <a:avLst/>
            <a:gdLst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0 w 9144000"/>
              <a:gd name="connsiteY6" fmla="*/ 5159495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190500 w 9144000"/>
              <a:gd name="connsiteY6" fmla="*/ 4493539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3891 w 9144000"/>
              <a:gd name="connsiteY5" fmla="*/ 562818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71516 w 9144000"/>
              <a:gd name="connsiteY5" fmla="*/ 5818461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19166 w 9144000"/>
              <a:gd name="connsiteY5" fmla="*/ 5847002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00116 w 9144000"/>
              <a:gd name="connsiteY5" fmla="*/ 5942139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894012 w 9144000"/>
              <a:gd name="connsiteY3" fmla="*/ 6818497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18497"/>
              <a:gd name="connsiteX1" fmla="*/ 9144000 w 9144000"/>
              <a:gd name="connsiteY1" fmla="*/ 0 h 6818497"/>
              <a:gd name="connsiteX2" fmla="*/ 9144000 w 9144000"/>
              <a:gd name="connsiteY2" fmla="*/ 4928377 h 6818497"/>
              <a:gd name="connsiteX3" fmla="*/ 3894012 w 9144000"/>
              <a:gd name="connsiteY3" fmla="*/ 6818497 h 6818497"/>
              <a:gd name="connsiteX4" fmla="*/ 3701776 w 9144000"/>
              <a:gd name="connsiteY4" fmla="*/ 6702094 h 6818497"/>
              <a:gd name="connsiteX5" fmla="*/ 6022210 w 9144000"/>
              <a:gd name="connsiteY5" fmla="*/ 5928708 h 6818497"/>
              <a:gd name="connsiteX6" fmla="*/ 9525 w 9144000"/>
              <a:gd name="connsiteY6" fmla="*/ 4769436 h 6818497"/>
              <a:gd name="connsiteX7" fmla="*/ 0 w 9144000"/>
              <a:gd name="connsiteY7" fmla="*/ 0 h 6818497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928377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842754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47039"/>
              <a:gd name="connsiteX1" fmla="*/ 9144000 w 9144000"/>
              <a:gd name="connsiteY1" fmla="*/ 28541 h 6847039"/>
              <a:gd name="connsiteX2" fmla="*/ 9144000 w 9144000"/>
              <a:gd name="connsiteY2" fmla="*/ 4871295 h 6847039"/>
              <a:gd name="connsiteX3" fmla="*/ 3894012 w 9144000"/>
              <a:gd name="connsiteY3" fmla="*/ 6847038 h 6847039"/>
              <a:gd name="connsiteX4" fmla="*/ 3688329 w 9144000"/>
              <a:gd name="connsiteY4" fmla="*/ 6847039 h 6847039"/>
              <a:gd name="connsiteX5" fmla="*/ 6022210 w 9144000"/>
              <a:gd name="connsiteY5" fmla="*/ 5957249 h 6847039"/>
              <a:gd name="connsiteX6" fmla="*/ 9525 w 9144000"/>
              <a:gd name="connsiteY6" fmla="*/ 4797977 h 6847039"/>
              <a:gd name="connsiteX7" fmla="*/ 0 w 9144000"/>
              <a:gd name="connsiteY7" fmla="*/ 0 h 6847039"/>
              <a:gd name="connsiteX0" fmla="*/ 0 w 9144000"/>
              <a:gd name="connsiteY0" fmla="*/ 9514 h 6856553"/>
              <a:gd name="connsiteX1" fmla="*/ 9134475 w 9144000"/>
              <a:gd name="connsiteY1" fmla="*/ 0 h 6856553"/>
              <a:gd name="connsiteX2" fmla="*/ 9144000 w 9144000"/>
              <a:gd name="connsiteY2" fmla="*/ 4880809 h 6856553"/>
              <a:gd name="connsiteX3" fmla="*/ 3894012 w 9144000"/>
              <a:gd name="connsiteY3" fmla="*/ 6856552 h 6856553"/>
              <a:gd name="connsiteX4" fmla="*/ 3688329 w 9144000"/>
              <a:gd name="connsiteY4" fmla="*/ 6856553 h 6856553"/>
              <a:gd name="connsiteX5" fmla="*/ 6022210 w 9144000"/>
              <a:gd name="connsiteY5" fmla="*/ 5966763 h 6856553"/>
              <a:gd name="connsiteX6" fmla="*/ 9525 w 9144000"/>
              <a:gd name="connsiteY6" fmla="*/ 4807491 h 6856553"/>
              <a:gd name="connsiteX7" fmla="*/ 0 w 9144000"/>
              <a:gd name="connsiteY7" fmla="*/ 9514 h 6856553"/>
              <a:gd name="connsiteX0" fmla="*/ 3810 w 9147810"/>
              <a:gd name="connsiteY0" fmla="*/ 9514 h 6856553"/>
              <a:gd name="connsiteX1" fmla="*/ 9138285 w 9147810"/>
              <a:gd name="connsiteY1" fmla="*/ 0 h 6856553"/>
              <a:gd name="connsiteX2" fmla="*/ 9147810 w 9147810"/>
              <a:gd name="connsiteY2" fmla="*/ 4880809 h 6856553"/>
              <a:gd name="connsiteX3" fmla="*/ 3897822 w 9147810"/>
              <a:gd name="connsiteY3" fmla="*/ 6856552 h 6856553"/>
              <a:gd name="connsiteX4" fmla="*/ 3692139 w 9147810"/>
              <a:gd name="connsiteY4" fmla="*/ 6856553 h 6856553"/>
              <a:gd name="connsiteX5" fmla="*/ 6026020 w 9147810"/>
              <a:gd name="connsiteY5" fmla="*/ 5966763 h 6856553"/>
              <a:gd name="connsiteX6" fmla="*/ 0 w 9147810"/>
              <a:gd name="connsiteY6" fmla="*/ 4807491 h 6856553"/>
              <a:gd name="connsiteX7" fmla="*/ 3810 w 9147810"/>
              <a:gd name="connsiteY7" fmla="*/ 9514 h 6856553"/>
              <a:gd name="connsiteX0" fmla="*/ 3810 w 9147810"/>
              <a:gd name="connsiteY0" fmla="*/ 11417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11417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83046 w 9147810"/>
              <a:gd name="connsiteY5" fmla="*/ 638141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099333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120115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58456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62262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59600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61979 h 6862262"/>
              <a:gd name="connsiteX7" fmla="*/ 3810 w 9147810"/>
              <a:gd name="connsiteY7" fmla="*/ 3806 h 6862262"/>
              <a:gd name="connsiteX0" fmla="*/ 3810 w 9147810"/>
              <a:gd name="connsiteY0" fmla="*/ 3806 h 6858975"/>
              <a:gd name="connsiteX1" fmla="*/ 9145905 w 9147810"/>
              <a:gd name="connsiteY1" fmla="*/ 0 h 6858975"/>
              <a:gd name="connsiteX2" fmla="*/ 9147810 w 9147810"/>
              <a:gd name="connsiteY2" fmla="*/ 4615799 h 6858975"/>
              <a:gd name="connsiteX3" fmla="*/ 4300470 w 9147810"/>
              <a:gd name="connsiteY3" fmla="*/ 6858975 h 6858975"/>
              <a:gd name="connsiteX4" fmla="*/ 4186195 w 9147810"/>
              <a:gd name="connsiteY4" fmla="*/ 6855127 h 6858975"/>
              <a:gd name="connsiteX5" fmla="*/ 5175076 w 9147810"/>
              <a:gd name="connsiteY5" fmla="*/ 6398063 h 6858975"/>
              <a:gd name="connsiteX6" fmla="*/ 0 w 9147810"/>
              <a:gd name="connsiteY6" fmla="*/ 4961979 h 6858975"/>
              <a:gd name="connsiteX7" fmla="*/ 3810 w 9147810"/>
              <a:gd name="connsiteY7" fmla="*/ 3806 h 6858975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300470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80435 w 9147810"/>
              <a:gd name="connsiteY5" fmla="*/ 6395685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80838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2024 w 9146024"/>
              <a:gd name="connsiteY0" fmla="*/ 3806 h 6859884"/>
              <a:gd name="connsiteX1" fmla="*/ 9144119 w 9146024"/>
              <a:gd name="connsiteY1" fmla="*/ 0 h 6859884"/>
              <a:gd name="connsiteX2" fmla="*/ 9146024 w 9146024"/>
              <a:gd name="connsiteY2" fmla="*/ 4615799 h 6859884"/>
              <a:gd name="connsiteX3" fmla="*/ 4284397 w 9146024"/>
              <a:gd name="connsiteY3" fmla="*/ 6858975 h 6859884"/>
              <a:gd name="connsiteX4" fmla="*/ 4173694 w 9146024"/>
              <a:gd name="connsiteY4" fmla="*/ 6859884 h 6859884"/>
              <a:gd name="connsiteX5" fmla="*/ 5176863 w 9146024"/>
              <a:gd name="connsiteY5" fmla="*/ 6398063 h 6859884"/>
              <a:gd name="connsiteX6" fmla="*/ 0 w 9146024"/>
              <a:gd name="connsiteY6" fmla="*/ 4961980 h 6859884"/>
              <a:gd name="connsiteX7" fmla="*/ 2024 w 9146024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59602 h 6859884"/>
              <a:gd name="connsiteX7" fmla="*/ 3810 w 9147810"/>
              <a:gd name="connsiteY7" fmla="*/ 3806 h 6859884"/>
              <a:gd name="connsiteX0" fmla="*/ 7382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7382 w 9151382"/>
              <a:gd name="connsiteY7" fmla="*/ 3806 h 6859884"/>
              <a:gd name="connsiteX0" fmla="*/ 2024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2024 w 9151382"/>
              <a:gd name="connsiteY7" fmla="*/ 3806 h 6859884"/>
              <a:gd name="connsiteX0" fmla="*/ 2024 w 9153049"/>
              <a:gd name="connsiteY0" fmla="*/ 3806 h 6859884"/>
              <a:gd name="connsiteX1" fmla="*/ 9153049 w 9153049"/>
              <a:gd name="connsiteY1" fmla="*/ 0 h 6859884"/>
              <a:gd name="connsiteX2" fmla="*/ 9151382 w 9153049"/>
              <a:gd name="connsiteY2" fmla="*/ 4615799 h 6859884"/>
              <a:gd name="connsiteX3" fmla="*/ 4289755 w 9153049"/>
              <a:gd name="connsiteY3" fmla="*/ 6858975 h 6859884"/>
              <a:gd name="connsiteX4" fmla="*/ 4179052 w 9153049"/>
              <a:gd name="connsiteY4" fmla="*/ 6859884 h 6859884"/>
              <a:gd name="connsiteX5" fmla="*/ 5182221 w 9153049"/>
              <a:gd name="connsiteY5" fmla="*/ 6398063 h 6859884"/>
              <a:gd name="connsiteX6" fmla="*/ 0 w 9153049"/>
              <a:gd name="connsiteY6" fmla="*/ 4961982 h 6859884"/>
              <a:gd name="connsiteX7" fmla="*/ 2024 w 9153049"/>
              <a:gd name="connsiteY7" fmla="*/ 3806 h 685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3049" h="6859884">
                <a:moveTo>
                  <a:pt x="2024" y="3806"/>
                </a:moveTo>
                <a:lnTo>
                  <a:pt x="9153049" y="0"/>
                </a:lnTo>
                <a:cubicBezTo>
                  <a:pt x="9152493" y="1538600"/>
                  <a:pt x="9151938" y="3077199"/>
                  <a:pt x="9151382" y="4615799"/>
                </a:cubicBezTo>
                <a:lnTo>
                  <a:pt x="4289755" y="6858975"/>
                </a:lnTo>
                <a:lnTo>
                  <a:pt x="4179052" y="6859884"/>
                </a:lnTo>
                <a:lnTo>
                  <a:pt x="5182221" y="6398063"/>
                </a:lnTo>
                <a:lnTo>
                  <a:pt x="0" y="4961982"/>
                </a:lnTo>
                <a:cubicBezTo>
                  <a:pt x="0" y="3242150"/>
                  <a:pt x="2024" y="1723638"/>
                  <a:pt x="2024" y="3806"/>
                </a:cubicBez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square" tIns="540000" bIns="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pic>
        <p:nvPicPr>
          <p:cNvPr id="10" name="Bild 8" descr="BMWMINIRR_5fbg Kopie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269622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4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</a:t>
            </a:r>
            <a:br>
              <a:rPr lang="en-US" noProof="0" dirty="0"/>
            </a:br>
            <a:r>
              <a:rPr lang="en-US" noProof="0" dirty="0"/>
              <a:t>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1386804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sp>
        <p:nvSpPr>
          <p:cNvPr id="18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21" name="Bild 7" descr="WortmarkeBMWGROUP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252" y="5927742"/>
            <a:ext cx="1154481" cy="360000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de-DE" sz="1300" dirty="0">
                <a:solidFill>
                  <a:srgbClr val="000000"/>
                </a:solidFill>
                <a:latin typeface="BMW Group Light" pitchFamily="2" charset="0"/>
                <a:cs typeface="BMW Group Light" pitchFamily="2" charset="0"/>
              </a:rPr>
              <a:t>Financial Services</a:t>
            </a:r>
          </a:p>
        </p:txBody>
      </p:sp>
    </p:spTree>
    <p:extLst>
      <p:ext uri="{BB962C8B-B14F-4D97-AF65-F5344CB8AC3E}">
        <p14:creationId xmlns:p14="http://schemas.microsoft.com/office/powerpoint/2010/main" val="539104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">
          <p15:clr>
            <a:srgbClr val="FBAE40"/>
          </p15:clr>
        </p15:guide>
        <p15:guide id="2" pos="7384">
          <p15:clr>
            <a:srgbClr val="FBAE40"/>
          </p15:clr>
        </p15:guide>
        <p15:guide id="3" orient="horz" pos="3752">
          <p15:clr>
            <a:srgbClr val="FBAE40"/>
          </p15:clr>
        </p15:guide>
        <p15:guide id="4" orient="horz" pos="210">
          <p15:clr>
            <a:srgbClr val="FBAE40"/>
          </p15:clr>
        </p15:guide>
        <p15:guide id="5" orient="horz" pos="354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48" y="1413936"/>
            <a:ext cx="5486400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6193368" y="1413936"/>
            <a:ext cx="5520267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7"/>
          </p:nvPr>
        </p:nvSpPr>
        <p:spPr>
          <a:xfrm>
            <a:off x="488948" y="4183352"/>
            <a:ext cx="5486400" cy="1938048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6193368" y="4191000"/>
            <a:ext cx="5520267" cy="1930400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90291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pos="3896">
          <p15:clr>
            <a:srgbClr val="FBAE40"/>
          </p15:clr>
        </p15:guide>
        <p15:guide id="6" pos="301">
          <p15:clr>
            <a:srgbClr val="FBAE40"/>
          </p15:clr>
        </p15:guide>
        <p15:guide id="7" pos="7384">
          <p15:clr>
            <a:srgbClr val="FBAE40"/>
          </p15:clr>
        </p15:guide>
        <p15:guide id="8" pos="3768">
          <p15:clr>
            <a:srgbClr val="FBAE40"/>
          </p15:clr>
        </p15:guide>
        <p15:guide id="9" orient="horz" pos="4042">
          <p15:clr>
            <a:srgbClr val="FBAE40"/>
          </p15:clr>
        </p15:guide>
        <p15:guide id="10" orient="horz" pos="4260">
          <p15:clr>
            <a:srgbClr val="FBAE40"/>
          </p15:clr>
        </p15:guide>
        <p15:guide id="11" orient="horz" pos="2636">
          <p15:clr>
            <a:srgbClr val="FBAE40"/>
          </p15:clr>
        </p15:guide>
        <p15:guide id="12" orient="horz" pos="253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50" y="1413936"/>
            <a:ext cx="3578577" cy="1675641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4295424" y="1413936"/>
            <a:ext cx="3584221" cy="1683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35"/>
          </p:nvPr>
        </p:nvSpPr>
        <p:spPr>
          <a:xfrm>
            <a:off x="8134521" y="1413936"/>
            <a:ext cx="3579112" cy="168329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 algn="l"/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5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430107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8135058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14361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7384">
          <p15:clr>
            <a:srgbClr val="FBAE40"/>
          </p15:clr>
        </p15:guide>
        <p15:guide id="8" pos="301">
          <p15:clr>
            <a:srgbClr val="FBAE40"/>
          </p15:clr>
        </p15:guide>
        <p15:guide id="9" pos="5120">
          <p15:clr>
            <a:srgbClr val="FBAE40"/>
          </p15:clr>
        </p15:guide>
        <p15:guide id="10" pos="4968">
          <p15:clr>
            <a:srgbClr val="FBAE40"/>
          </p15:clr>
        </p15:guide>
        <p15:guide id="11" pos="2704">
          <p15:clr>
            <a:srgbClr val="FBAE40"/>
          </p15:clr>
        </p15:guide>
        <p15:guide id="12" pos="256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88950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3352802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32"/>
          </p:nvPr>
        </p:nvSpPr>
        <p:spPr>
          <a:xfrm>
            <a:off x="6220182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9096213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pPr algn="l"/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48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3352803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dirty="0" smtClean="0">
                <a:solidFill>
                  <a:srgbClr val="404040"/>
                </a:solidFill>
              </a:defRPr>
            </a:lvl1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6220180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41"/>
          </p:nvPr>
        </p:nvSpPr>
        <p:spPr>
          <a:xfrm>
            <a:off x="9094612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1911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301">
          <p15:clr>
            <a:srgbClr val="FBAE40"/>
          </p15:clr>
        </p15:guide>
        <p15:guide id="8" pos="7384">
          <p15:clr>
            <a:srgbClr val="FBAE40"/>
          </p15:clr>
        </p15:guide>
        <p15:guide id="9" pos="1960">
          <p15:clr>
            <a:srgbClr val="FBAE40"/>
          </p15:clr>
        </p15:guide>
        <p15:guide id="10" pos="2112">
          <p15:clr>
            <a:srgbClr val="FBAE40"/>
          </p15:clr>
        </p15:guide>
        <p15:guide id="11" pos="3768">
          <p15:clr>
            <a:srgbClr val="FBAE40"/>
          </p15:clr>
        </p15:guide>
        <p15:guide id="12" pos="3912">
          <p15:clr>
            <a:srgbClr val="FBAE40"/>
          </p15:clr>
        </p15:guide>
        <p15:guide id="13" pos="5564">
          <p15:clr>
            <a:srgbClr val="FBAE40"/>
          </p15:clr>
        </p15:guide>
        <p15:guide id="14" pos="572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bin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6" y="1413933"/>
            <a:ext cx="5971817" cy="4715934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72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46381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301">
          <p15:clr>
            <a:srgbClr val="FBAE40"/>
          </p15:clr>
        </p15:guide>
        <p15:guide id="8" pos="7384">
          <p15:clr>
            <a:srgbClr val="FBAE40"/>
          </p15:clr>
        </p15:guide>
        <p15:guide id="9" pos="3768">
          <p15:clr>
            <a:srgbClr val="FBAE40"/>
          </p15:clr>
        </p15:guide>
        <p15:guide id="10" pos="390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Content without Dividing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50051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84622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">
          <p15:clr>
            <a:srgbClr val="FBAE40"/>
          </p15:clr>
        </p15:guide>
        <p15:guide id="2" pos="7384">
          <p15:clr>
            <a:srgbClr val="FBAE40"/>
          </p15:clr>
        </p15:guide>
        <p15:guide id="3" orient="horz" pos="216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890">
          <p15:clr>
            <a:srgbClr val="FBAE40"/>
          </p15:clr>
        </p15:guide>
        <p15:guide id="6" orient="horz" pos="3858">
          <p15:clr>
            <a:srgbClr val="FBAE40"/>
          </p15:clr>
        </p15:guide>
        <p15:guide id="7" orient="horz" pos="4260">
          <p15:clr>
            <a:srgbClr val="FBAE40"/>
          </p15:clr>
        </p15:guide>
        <p15:guide id="8" orient="horz" pos="404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dirty="0"/>
              <a:t>Subject | Department | Dat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25678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>
          <p15:clr>
            <a:srgbClr val="FBAE40"/>
          </p15:clr>
        </p15:guide>
        <p15:guide id="2" orient="horz" pos="216">
          <p15:clr>
            <a:srgbClr val="FBAE40"/>
          </p15:clr>
        </p15:guide>
        <p15:guide id="3" orient="horz" pos="888">
          <p15:clr>
            <a:srgbClr val="FBAE40"/>
          </p15:clr>
        </p15:guide>
        <p15:guide id="4" orient="horz" pos="3840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301">
          <p15:clr>
            <a:srgbClr val="FBAE40"/>
          </p15:clr>
        </p15:guide>
        <p15:guide id="8" pos="738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78575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4322170"/>
            <a:ext cx="12191496" cy="253583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800" y="5927742"/>
            <a:ext cx="1154478" cy="359999"/>
          </a:xfrm>
          <a:prstGeom prst="rect">
            <a:avLst/>
          </a:prstGeom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1799485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9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2916667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buNone/>
              <a:defRPr sz="2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pic>
        <p:nvPicPr>
          <p:cNvPr id="14" name="Bild 8" descr="BMWMINIRR_5fbg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13" name="Bild 7" descr="WortmarkeBMWGROUP Kopie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feld 14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de-DE" sz="1300" dirty="0">
                <a:solidFill>
                  <a:srgbClr val="000000"/>
                </a:solidFill>
                <a:latin typeface="BMW Group Light" pitchFamily="2" charset="0"/>
                <a:cs typeface="BMW Group Light" pitchFamily="2" charset="0"/>
              </a:rPr>
              <a:t>Financial Services</a:t>
            </a:r>
          </a:p>
        </p:txBody>
      </p:sp>
    </p:spTree>
    <p:extLst>
      <p:ext uri="{BB962C8B-B14F-4D97-AF65-F5344CB8AC3E}">
        <p14:creationId xmlns:p14="http://schemas.microsoft.com/office/powerpoint/2010/main" val="22329062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79">
          <p15:clr>
            <a:srgbClr val="FBAE40"/>
          </p15:clr>
        </p15:guide>
        <p15:guide id="2" orient="horz" pos="1128">
          <p15:clr>
            <a:srgbClr val="FBAE40"/>
          </p15:clr>
        </p15:guide>
        <p15:guide id="3" orient="horz" pos="3544">
          <p15:clr>
            <a:srgbClr val="FBAE40"/>
          </p15:clr>
        </p15:guide>
        <p15:guide id="4" orient="horz" pos="1832">
          <p15:clr>
            <a:srgbClr val="FBAE40"/>
          </p15:clr>
        </p15:guide>
        <p15:guide id="5" pos="301">
          <p15:clr>
            <a:srgbClr val="FBAE40"/>
          </p15:clr>
        </p15:guide>
        <p15:guide id="6" pos="7384">
          <p15:clr>
            <a:srgbClr val="FBAE40"/>
          </p15:clr>
        </p15:guide>
        <p15:guide id="7" orient="horz" pos="375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8"/>
          <p:cNvSpPr/>
          <p:nvPr userDrawn="1"/>
        </p:nvSpPr>
        <p:spPr>
          <a:xfrm>
            <a:off x="0" y="0"/>
            <a:ext cx="12192000" cy="6294964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6" name="Bild 10" descr="Next_100_Years_Signet.png"/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90" t="31947" r="48537" b="3"/>
          <a:stretch/>
        </p:blipFill>
        <p:spPr>
          <a:xfrm>
            <a:off x="4664261" y="1"/>
            <a:ext cx="7527739" cy="6330218"/>
          </a:xfrm>
          <a:prstGeom prst="rect">
            <a:avLst/>
          </a:prstGeom>
        </p:spPr>
      </p:pic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9" y="1412875"/>
            <a:ext cx="2989019" cy="9246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7200"/>
              </a:lnSpc>
              <a:spcBef>
                <a:spcPts val="0"/>
              </a:spcBef>
              <a:buNone/>
              <a:defRPr sz="72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88948" y="2362896"/>
            <a:ext cx="11224685" cy="54886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4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hapter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57110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36">
          <p15:clr>
            <a:srgbClr val="FBAE40"/>
          </p15:clr>
        </p15:guide>
        <p15:guide id="2" orient="horz" pos="887">
          <p15:clr>
            <a:srgbClr val="FBAE40"/>
          </p15:clr>
        </p15:guide>
        <p15:guide id="3" pos="7384">
          <p15:clr>
            <a:srgbClr val="FBAE40"/>
          </p15:clr>
        </p15:guide>
        <p15:guide id="4" pos="30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32026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">
          <p15:clr>
            <a:srgbClr val="FBAE40"/>
          </p15:clr>
        </p15:guide>
        <p15:guide id="2" pos="7384">
          <p15:clr>
            <a:srgbClr val="FBAE40"/>
          </p15:clr>
        </p15:guide>
        <p15:guide id="3" orient="horz" pos="216">
          <p15:clr>
            <a:srgbClr val="FBAE40"/>
          </p15:clr>
        </p15:guide>
        <p15:guide id="4" orient="horz" pos="663">
          <p15:clr>
            <a:srgbClr val="FBAE40"/>
          </p15:clr>
        </p15:guide>
        <p15:guide id="5" orient="horz" pos="890">
          <p15:clr>
            <a:srgbClr val="FBAE40"/>
          </p15:clr>
        </p15:guide>
        <p15:guide id="6" orient="horz" pos="3858">
          <p15:clr>
            <a:srgbClr val="FBAE40"/>
          </p15:clr>
        </p15:guide>
        <p15:guide id="7" orient="horz" pos="4260">
          <p15:clr>
            <a:srgbClr val="FBAE40"/>
          </p15:clr>
        </p15:guide>
        <p15:guide id="8" orient="horz" pos="404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11"/>
          <p:cNvPicPr>
            <a:picLocks noChangeAspect="1"/>
          </p:cNvPicPr>
          <p:nvPr userDrawn="1"/>
        </p:nvPicPr>
        <p:blipFill rotWithShape="1">
          <a:blip r:embed="rId2" cstate="print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56" t="46096" r="-1521" b="2091"/>
          <a:stretch/>
        </p:blipFill>
        <p:spPr>
          <a:xfrm>
            <a:off x="-9832" y="0"/>
            <a:ext cx="6028267" cy="629390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00182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301">
          <p15:clr>
            <a:srgbClr val="FBAE40"/>
          </p15:clr>
        </p15:guide>
        <p15:guide id="8" pos="73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9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61787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3896">
          <p15:clr>
            <a:srgbClr val="FBAE40"/>
          </p15:clr>
        </p15:guide>
        <p15:guide id="8" pos="3768">
          <p15:clr>
            <a:srgbClr val="FBAE40"/>
          </p15:clr>
        </p15:guide>
        <p15:guide id="9" pos="7384">
          <p15:clr>
            <a:srgbClr val="FBAE40"/>
          </p15:clr>
        </p15:guide>
        <p15:guide id="10" pos="30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22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3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88950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93368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14555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3897">
          <p15:clr>
            <a:srgbClr val="FBAE40"/>
          </p15:clr>
        </p15:guide>
        <p15:guide id="8" pos="3769">
          <p15:clr>
            <a:srgbClr val="FBAE40"/>
          </p15:clr>
        </p15:guide>
        <p15:guide id="9" pos="7384">
          <p15:clr>
            <a:srgbClr val="FBAE40"/>
          </p15:clr>
        </p15:guide>
        <p15:guide id="10" orient="horz" pos="1131">
          <p15:clr>
            <a:srgbClr val="FBAE40"/>
          </p15:clr>
        </p15:guide>
        <p15:guide id="11" orient="horz" pos="1094">
          <p15:clr>
            <a:srgbClr val="FBAE40"/>
          </p15:clr>
        </p15:guide>
        <p15:guide id="12" pos="30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36"/>
          </p:nvPr>
        </p:nvSpPr>
        <p:spPr>
          <a:xfrm>
            <a:off x="488948" y="1413933"/>
            <a:ext cx="11224685" cy="4707467"/>
          </a:xfrm>
          <a:pattFill prst="wdUpDiag">
            <a:fgClr>
              <a:srgbClr val="BFBFBF"/>
            </a:fgClr>
            <a:bgClr>
              <a:schemeClr val="bg1"/>
            </a:bgClr>
          </a:pattFill>
        </p:spPr>
        <p:txBody>
          <a:bodyPr tIns="540000" anchor="ctr"/>
          <a:lstStyle>
            <a:lvl1pPr marL="0" indent="0" algn="ctr">
              <a:buNone/>
              <a:defRPr sz="2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96165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>
          <p15:clr>
            <a:srgbClr val="FBAE40"/>
          </p15:clr>
        </p15:guide>
        <p15:guide id="2" orient="horz" pos="216">
          <p15:clr>
            <a:srgbClr val="FBAE40"/>
          </p15:clr>
        </p15:guide>
        <p15:guide id="3" orient="horz" pos="890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pos="301">
          <p15:clr>
            <a:srgbClr val="FBAE40"/>
          </p15:clr>
        </p15:guide>
        <p15:guide id="6" pos="7384">
          <p15:clr>
            <a:srgbClr val="FBAE40"/>
          </p15:clr>
        </p15:guide>
        <p15:guide id="7" orient="horz" pos="4042">
          <p15:clr>
            <a:srgbClr val="FBAE40"/>
          </p15:clr>
        </p15:guide>
        <p15:guide id="8" orient="horz" pos="42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5" y="1413933"/>
            <a:ext cx="12192003" cy="5444068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07000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>
          <p15:clr>
            <a:srgbClr val="FBAE40"/>
          </p15:clr>
        </p15:guide>
        <p15:guide id="2" orient="horz" pos="216">
          <p15:clr>
            <a:srgbClr val="FBAE40"/>
          </p15:clr>
        </p15:guide>
        <p15:guide id="3" pos="301">
          <p15:clr>
            <a:srgbClr val="FBAE40"/>
          </p15:clr>
        </p15:guide>
        <p15:guide id="4" pos="738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rgbClr val="404040"/>
                </a:solidFill>
              </a:defRPr>
            </a:lvl1pPr>
          </a:lstStyle>
          <a:p>
            <a:pPr algn="l"/>
            <a:r>
              <a:rPr lang="en-GB" dirty="0"/>
              <a:t>Subject | Department | Dat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Page </a:t>
            </a:r>
            <a:fld id="{AA807A42-CF27-4B84-8583-18EBE41834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8" name="empower - DO NOT DELETE!!!" hidden="1"/>
          <p:cNvSpPr/>
          <p:nvPr userDrawn="1">
            <p:custDataLst>
              <p:tags r:id="rId18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ts val="2700"/>
              </a:lnSpc>
            </a:pPr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9136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</p:sldLayoutIdLst>
  <p:hf hdr="0" dt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+mj-lt"/>
          <a:ea typeface="+mn-ea"/>
          <a:cs typeface="+mn-cs"/>
        </a:defRPr>
      </a:lvl1pPr>
    </p:titleStyle>
    <p:bodyStyle>
      <a:lvl1pPr marL="176213" indent="-176213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88949" y="1412875"/>
            <a:ext cx="4408872" cy="924620"/>
          </a:xfrm>
        </p:spPr>
        <p:txBody>
          <a:bodyPr/>
          <a:lstStyle/>
          <a:p>
            <a:r>
              <a:rPr lang="en-US" b="0" dirty="0" smtClean="0">
                <a:solidFill>
                  <a:srgbClr val="404040"/>
                </a:solidFill>
                <a:latin typeface="BMW Group Condensed" panose="020B0606020202020204" pitchFamily="34" charset="0"/>
              </a:rPr>
              <a:t>EP003</a:t>
            </a:r>
            <a:endParaRPr lang="en-US" b="0" dirty="0">
              <a:solidFill>
                <a:srgbClr val="404040"/>
              </a:solidFill>
              <a:latin typeface="BMW Group Condensed" panose="020B0606020202020204" pitchFamily="34" charset="0"/>
            </a:endParaRPr>
          </a:p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88949" y="2337495"/>
            <a:ext cx="11224685" cy="2231380"/>
          </a:xfrm>
        </p:spPr>
        <p:txBody>
          <a:bodyPr/>
          <a:lstStyle/>
          <a:p>
            <a:r>
              <a:rPr lang="en-US" altLang="zh-CN" dirty="0">
                <a:solidFill>
                  <a:srgbClr val="666666"/>
                </a:solidFill>
                <a:latin typeface="BMW Group Condensed" panose="020B0606020202020204" pitchFamily="34" charset="0"/>
              </a:rPr>
              <a:t>EPIC: </a:t>
            </a:r>
          </a:p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As a BMW prospect </a:t>
            </a:r>
            <a:r>
              <a:rPr lang="en-US" altLang="zh-CN" dirty="0">
                <a:solidFill>
                  <a:srgbClr val="666666"/>
                </a:solidFill>
                <a:latin typeface="BMW Group Condensed" panose="020B0606020202020204" pitchFamily="34" charset="0"/>
              </a:rPr>
              <a:t>with Existing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 </a:t>
            </a:r>
            <a:r>
              <a:rPr lang="en-US" altLang="zh-CN" dirty="0">
                <a:solidFill>
                  <a:srgbClr val="666666"/>
                </a:solidFill>
                <a:latin typeface="BMW Group Condensed" panose="020B0606020202020204" pitchFamily="34" charset="0"/>
              </a:rPr>
              <a:t>Easy Finance Account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I should be able to </a:t>
            </a:r>
            <a:r>
              <a:rPr lang="en-US" u="sng" dirty="0">
                <a:solidFill>
                  <a:srgbClr val="FF0000"/>
                </a:solidFill>
                <a:latin typeface="BMW Group Condensed" panose="020B0606020202020204" pitchFamily="34" charset="0"/>
              </a:rPr>
              <a:t>Login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 via an APP for BMW Easy Finance.</a:t>
            </a:r>
            <a:endParaRPr lang="en-US" altLang="zh-CN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424613"/>
            <a:ext cx="9852025" cy="331787"/>
          </a:xfrm>
        </p:spPr>
        <p:txBody>
          <a:bodyPr/>
          <a:lstStyle/>
          <a:p>
            <a:pPr algn="l"/>
            <a:r>
              <a:rPr lang="en-GB" noProof="0" smtClean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11063288" y="6424613"/>
            <a:ext cx="1128712" cy="331787"/>
          </a:xfrm>
        </p:spPr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1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03015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P003</a:t>
            </a:r>
            <a:r>
              <a:rPr lang="en-US" dirty="0" smtClean="0"/>
              <a:t>: Logi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</a:t>
            </a:r>
            <a:r>
              <a:rPr lang="en-US" dirty="0" smtClean="0">
                <a:solidFill>
                  <a:srgbClr val="0070C0"/>
                </a:solidFill>
              </a:rPr>
              <a:t>EP003-S004-PK: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As </a:t>
            </a:r>
            <a:r>
              <a:rPr lang="en-US" dirty="0" smtClean="0"/>
              <a:t>a Existing User to BMW Easy Finance </a:t>
            </a:r>
            <a:r>
              <a:rPr lang="en-US" dirty="0"/>
              <a:t>APP I should be able to </a:t>
            </a:r>
            <a:r>
              <a:rPr lang="en-US" dirty="0" smtClean="0"/>
              <a:t>Login </a:t>
            </a:r>
            <a:r>
              <a:rPr lang="en-US" dirty="0"/>
              <a:t>with password </a:t>
            </a:r>
            <a:r>
              <a:rPr lang="en-US" dirty="0" smtClean="0"/>
              <a:t>successfully.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</a:t>
            </a:r>
            <a:r>
              <a:rPr lang="en-US" dirty="0" smtClean="0">
                <a:solidFill>
                  <a:srgbClr val="0070C0"/>
                </a:solidFill>
              </a:rPr>
              <a:t>EP003-S005-PK </a:t>
            </a:r>
            <a:r>
              <a:rPr lang="en-US" dirty="0">
                <a:solidFill>
                  <a:srgbClr val="0070C0"/>
                </a:solidFill>
              </a:rPr>
              <a:t>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As a Existing User to BMW Easy Finance APP I should be able to Login with </a:t>
            </a:r>
            <a:r>
              <a:rPr lang="en-US" dirty="0" smtClean="0"/>
              <a:t>temp. PWD(OTP) successfully.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</a:t>
            </a:r>
            <a:r>
              <a:rPr lang="en-US" dirty="0" smtClean="0">
                <a:solidFill>
                  <a:srgbClr val="0070C0"/>
                </a:solidFill>
              </a:rPr>
              <a:t>EP003-S006-PK </a:t>
            </a:r>
            <a:r>
              <a:rPr lang="en-US" dirty="0">
                <a:solidFill>
                  <a:srgbClr val="0070C0"/>
                </a:solidFill>
              </a:rPr>
              <a:t>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As a Existing User of Easy Finance Application When </a:t>
            </a:r>
            <a:r>
              <a:rPr lang="en-US" dirty="0" smtClean="0"/>
              <a:t>I forget my password I should be allowed to login by resetting my password.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0635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03-S004-PK: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Existing User to BMW Easy Finance APP I should be able to Login with password successfully.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Customer is at the dealership; Customer has already downloaded &amp; Registered; </a:t>
            </a:r>
            <a:r>
              <a:rPr lang="en-US" sz="1600" dirty="0" smtClean="0">
                <a:solidFill>
                  <a:srgbClr val="D16F72"/>
                </a:solidFill>
                <a:latin typeface="+mj-lt"/>
              </a:rPr>
              <a:t>User have a BMW Web (GCDM) Account; 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Easy Finance APP user Authorization &amp; Authentication works with COP/GCDM; </a:t>
            </a:r>
          </a:p>
          <a:p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Customer has Registered for BMW account using COP/GCDM Registration service and has set password for registration. 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SMS Trigger is used if customer forgets the password.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Customer should have  most up to date easy finance APP installed and accessible with internet connection. </a:t>
            </a:r>
          </a:p>
          <a:p>
            <a:endParaRPr lang="en-US" sz="1600" dirty="0">
              <a:latin typeface="+mj-lt"/>
            </a:endParaRPr>
          </a:p>
          <a:p>
            <a:pPr marL="0" lvl="0" indent="0">
              <a:buNone/>
            </a:pPr>
            <a:r>
              <a:rPr lang="en-US" sz="1600" u="sng" dirty="0">
                <a:solidFill>
                  <a:srgbClr val="00B0F0"/>
                </a:solidFill>
                <a:latin typeface="+mj-lt"/>
              </a:rPr>
              <a:t>Acceptance Criteria: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Customer Starts Easy Finance App and Selects login.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From the Login page Customer Selects “Login with PWD”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Customer enters the user name and password.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Customer is prompted with Error if username and password do not match.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Customer is re-directed to main page if he is successfully Logged in. </a:t>
            </a: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6" name="Rectangle 5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7" name="Rectangle 6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</a:p>
        </p:txBody>
      </p:sp>
      <p:sp>
        <p:nvSpPr>
          <p:cNvPr id="12" name="Oval 11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218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003-S005-PK: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Existing User to BMW Easy Finance APP I should be able to Login with temp. PWD(OTP) successfully.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Customer is at the dealership; Customer has already downloaded &amp; Registered; </a:t>
            </a:r>
            <a:r>
              <a:rPr lang="en-US" sz="1600" dirty="0" smtClean="0">
                <a:solidFill>
                  <a:srgbClr val="D16F72"/>
                </a:solidFill>
                <a:latin typeface="+mj-lt"/>
              </a:rPr>
              <a:t>User have a BMW Web (GCDM) Account; 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Easy Finance APP </a:t>
            </a:r>
            <a:r>
              <a:rPr lang="en-US" sz="1600" dirty="0">
                <a:solidFill>
                  <a:srgbClr val="172B4D"/>
                </a:solidFill>
                <a:latin typeface="+mj-lt"/>
              </a:rPr>
              <a:t>U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ser Authorization &amp; Authentication works with COP/GCDM; </a:t>
            </a:r>
          </a:p>
          <a:p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Customer has Registered for BMW account using COP/GCDM Registration service and has NOT SET the password for his account. 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SMS Trigger is used if customer forgets the password.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Customer should have  most up to date easy finance APP installed and accessible with internet connection. </a:t>
            </a:r>
          </a:p>
          <a:p>
            <a:endParaRPr lang="en-US" sz="1600" dirty="0">
              <a:latin typeface="+mj-lt"/>
            </a:endParaRPr>
          </a:p>
          <a:p>
            <a:pPr marL="0" lvl="0" indent="0">
              <a:buNone/>
            </a:pPr>
            <a:r>
              <a:rPr lang="en-US" sz="1600" u="sng" dirty="0">
                <a:solidFill>
                  <a:srgbClr val="00B0F0"/>
                </a:solidFill>
                <a:latin typeface="+mj-lt"/>
              </a:rPr>
              <a:t>Acceptance Criteria: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Customer Starts Easy Finance App and Selects login.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From the Login page Customer Selects “Login with PIN”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Customer enters the user name and request for OTP (One Time Password). </a:t>
            </a:r>
          </a:p>
          <a:p>
            <a:pPr marL="342900" lvl="0" indent="-342900">
              <a:buAutoNum type="arabicPeriod"/>
            </a:pPr>
            <a:r>
              <a:rPr lang="en-US" sz="1600" dirty="0" err="1" smtClean="0">
                <a:solidFill>
                  <a:srgbClr val="172B4D"/>
                </a:solidFill>
                <a:latin typeface="+mj-lt"/>
              </a:rPr>
              <a:t>Timmer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 starts to warn the customer with .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Customer is re-directed to main page if he is successfully Logged in. </a:t>
            </a: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6" name="Rectangle 5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7" name="Rectangle 6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</a:p>
        </p:txBody>
      </p:sp>
      <p:sp>
        <p:nvSpPr>
          <p:cNvPr id="12" name="Oval 11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8910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ry ID: </a:t>
            </a:r>
            <a:r>
              <a:rPr lang="en-US" dirty="0" smtClean="0"/>
              <a:t>EP003-S004-PK &amp; EP003-S005-PK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72800" y="1720712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MW Financial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Service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Welcome!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u="sng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 Introduction goes here,</a:t>
            </a:r>
            <a:endParaRPr lang="en-US" sz="900" u="sng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Helpline: XX-XXXX-XXX</a:t>
            </a:r>
          </a:p>
        </p:txBody>
      </p:sp>
      <p:sp>
        <p:nvSpPr>
          <p:cNvPr id="9" name="Rectangle 8"/>
          <p:cNvSpPr/>
          <p:nvPr/>
        </p:nvSpPr>
        <p:spPr>
          <a:xfrm>
            <a:off x="647534" y="4463912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Login</a:t>
            </a:r>
          </a:p>
        </p:txBody>
      </p:sp>
      <p:sp>
        <p:nvSpPr>
          <p:cNvPr id="10" name="Rectangle 9"/>
          <p:cNvSpPr/>
          <p:nvPr/>
        </p:nvSpPr>
        <p:spPr>
          <a:xfrm>
            <a:off x="1803672" y="4463911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Registration</a:t>
            </a:r>
          </a:p>
        </p:txBody>
      </p:sp>
      <p:sp>
        <p:nvSpPr>
          <p:cNvPr id="13" name="Rectangle 12"/>
          <p:cNvSpPr/>
          <p:nvPr/>
        </p:nvSpPr>
        <p:spPr>
          <a:xfrm>
            <a:off x="9062824" y="1685108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/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MW Financial Services</a:t>
            </a:r>
          </a:p>
          <a:p>
            <a:pPr algn="ctr"/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/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Welcome! 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u="sng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lease Click here to understand our Application Process,</a:t>
            </a:r>
            <a:endParaRPr lang="en-US" sz="900" u="sng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Helpline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: XX-XXXX-XXX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258300" y="4232283"/>
            <a:ext cx="2217042" cy="315311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ancel &amp; </a:t>
            </a:r>
            <a:r>
              <a:rPr lang="en-US" sz="1500" b="0" i="0" u="none" baseline="0" dirty="0" err="1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Goto</a:t>
            </a:r>
            <a:r>
              <a:rPr lang="en-US" sz="15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Main Page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258300" y="3856807"/>
            <a:ext cx="2217042" cy="315311"/>
          </a:xfrm>
          <a:prstGeom prst="rect">
            <a:avLst/>
          </a:prstGeom>
          <a:solidFill>
            <a:srgbClr val="00B0F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5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reate New Application</a:t>
            </a:r>
            <a:r>
              <a:rPr lang="en-US" sz="1500" dirty="0">
                <a:solidFill>
                  <a:srgbClr val="666666"/>
                </a:solidFill>
                <a:latin typeface="BMW Group Condensed" panose="020B0606020202020204" pitchFamily="34" charset="0"/>
              </a:rPr>
              <a:t>.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7742" y="1720712"/>
            <a:ext cx="2470137" cy="4400689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3800" y="1749784"/>
            <a:ext cx="2472847" cy="4367627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9258300" y="3441092"/>
            <a:ext cx="2217042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5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heck Application Status</a:t>
            </a:r>
            <a:endParaRPr lang="en-US" sz="15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4914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4813" y="1480628"/>
            <a:ext cx="10026869" cy="448879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03-S004-PK &amp; EP003-S005-PK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151820" y="5969426"/>
            <a:ext cx="4456386" cy="709170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4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ample</a:t>
            </a:r>
          </a:p>
        </p:txBody>
      </p:sp>
    </p:spTree>
    <p:extLst>
      <p:ext uri="{BB962C8B-B14F-4D97-AF65-F5344CB8AC3E}">
        <p14:creationId xmlns:p14="http://schemas.microsoft.com/office/powerpoint/2010/main" val="1797863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42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8252" y="2568280"/>
            <a:ext cx="8705851" cy="312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03-S004-PK &amp; EP003-S005-PK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1304155" y="2172128"/>
            <a:ext cx="1114097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Registr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441112" y="306386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418252" y="517827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3480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03-S004-PK &amp; EP003-S005-PK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EF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</a:t>
            </a: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 FE</a:t>
            </a: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EF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Service BE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P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IGW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GCDM</a:t>
            </a: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V="1">
            <a:off x="1523372" y="2543695"/>
            <a:ext cx="4617228" cy="855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flipH="1">
            <a:off x="1524583" y="3111250"/>
            <a:ext cx="4617229" cy="1809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 flipV="1">
            <a:off x="1546463" y="3760470"/>
            <a:ext cx="2285523" cy="35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V="1">
            <a:off x="3919677" y="4788546"/>
            <a:ext cx="4585215" cy="309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 flipV="1">
            <a:off x="8649832" y="4960620"/>
            <a:ext cx="2014358" cy="797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H="1">
            <a:off x="8649832" y="5531430"/>
            <a:ext cx="2014358" cy="785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6360060" y="2547974"/>
            <a:ext cx="2189580" cy="91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>
            <a:off x="8680375" y="2551676"/>
            <a:ext cx="2030793" cy="57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H="1">
            <a:off x="8666314" y="3098685"/>
            <a:ext cx="2014358" cy="785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 flipH="1">
            <a:off x="6351090" y="3098685"/>
            <a:ext cx="2144822" cy="1177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1546463" y="2148792"/>
            <a:ext cx="2510580" cy="4001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1000" dirty="0">
                <a:solidFill>
                  <a:srgbClr val="000000"/>
                </a:solidFill>
                <a:latin typeface="BMW Group Condensed" panose="020B0606020202020204" pitchFamily="34" charset="0"/>
              </a:rPr>
              <a:t>Redirect </a:t>
            </a:r>
            <a:endParaRPr lang="en-US" sz="100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  <a:p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BMW Group Condensed" panose="020B0606020202020204" pitchFamily="34" charset="0"/>
              </a:rPr>
              <a:t>Client_ID</a:t>
            </a:r>
            <a:r>
              <a:rPr lang="en-US" sz="1000" dirty="0">
                <a:solidFill>
                  <a:srgbClr val="000000"/>
                </a:solidFill>
                <a:latin typeface="BMW Group Condensed" panose="020B0606020202020204" pitchFamily="34" charset="0"/>
              </a:rPr>
              <a:t>, </a:t>
            </a:r>
            <a:r>
              <a:rPr lang="en-US" sz="1000" dirty="0" err="1">
                <a:solidFill>
                  <a:srgbClr val="000000"/>
                </a:solidFill>
                <a:latin typeface="BMW Group Condensed" panose="020B0606020202020204" pitchFamily="34" charset="0"/>
              </a:rPr>
              <a:t>APIKey</a:t>
            </a: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, </a:t>
            </a:r>
            <a:r>
              <a:rPr lang="en-US" sz="1000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olicyID</a:t>
            </a:r>
            <a:r>
              <a:rPr lang="en-US" sz="1000" dirty="0">
                <a:solidFill>
                  <a:srgbClr val="000000"/>
                </a:solidFill>
                <a:latin typeface="BMW Group Condensed" panose="020B0606020202020204" pitchFamily="34" charset="0"/>
              </a:rPr>
              <a:t>, </a:t>
            </a:r>
            <a:r>
              <a:rPr lang="en-US" sz="1000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BackURL</a:t>
            </a:r>
            <a:r>
              <a:rPr lang="en-US" sz="1000" dirty="0">
                <a:solidFill>
                  <a:srgbClr val="000000"/>
                </a:solidFill>
                <a:latin typeface="BMW Group Condensed" panose="020B0606020202020204" pitchFamily="34" charset="0"/>
              </a:rPr>
              <a:t>)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042768" y="2720186"/>
            <a:ext cx="1957588" cy="4001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OP Passes Successful/Failed 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gistration to EF APP &amp; Pass Token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663141" y="3443190"/>
            <a:ext cx="2052165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end the Token to EF Service Backend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4018914" y="4484457"/>
            <a:ext cx="3719288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ass</a:t>
            </a:r>
            <a:r>
              <a:rPr lang="en-US" sz="10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the token to GCDM API GATEWAY 		To get validated 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9048963" y="4546383"/>
            <a:ext cx="1249060" cy="4001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Validate and fetch the 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data from GCDM DB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9062628" y="5293059"/>
            <a:ext cx="1279517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turn the Profile Data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46" name="Straight Arrow Connector 45"/>
          <p:cNvCxnSpPr/>
          <p:nvPr/>
        </p:nvCxnSpPr>
        <p:spPr>
          <a:xfrm flipH="1">
            <a:off x="3898101" y="5340017"/>
            <a:ext cx="4606791" cy="1007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>
            <a:off x="5011286" y="5041483"/>
            <a:ext cx="1218603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rofile Data Returned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48" name="Straight Connector 47"/>
          <p:cNvCxnSpPr/>
          <p:nvPr/>
        </p:nvCxnSpPr>
        <p:spPr>
          <a:xfrm flipV="1">
            <a:off x="3884034" y="5670159"/>
            <a:ext cx="1032186" cy="3883"/>
          </a:xfrm>
          <a:prstGeom prst="line">
            <a:avLst/>
          </a:prstGeom>
          <a:ln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9" name="Elbow Connector 48"/>
          <p:cNvCxnSpPr/>
          <p:nvPr/>
        </p:nvCxnSpPr>
        <p:spPr>
          <a:xfrm rot="10800000" flipV="1">
            <a:off x="3918091" y="5664156"/>
            <a:ext cx="978828" cy="289679"/>
          </a:xfrm>
          <a:prstGeom prst="bentConnector3">
            <a:avLst>
              <a:gd name="adj1" fmla="val -1380"/>
            </a:avLst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4679783" y="5605967"/>
            <a:ext cx="1537600" cy="553998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reate a Local Copy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If the user</a:t>
            </a:r>
            <a:r>
              <a:rPr lang="en-US" sz="10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already 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don’t exist </a:t>
            </a: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&amp; Store in EF</a:t>
            </a:r>
            <a:r>
              <a:rPr lang="en-US" sz="10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DB.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51" name="Straight Arrow Connector 50"/>
          <p:cNvCxnSpPr/>
          <p:nvPr/>
        </p:nvCxnSpPr>
        <p:spPr>
          <a:xfrm flipH="1">
            <a:off x="1523372" y="5953836"/>
            <a:ext cx="2296996" cy="1749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>
          <a:xfrm>
            <a:off x="1910681" y="5571222"/>
            <a:ext cx="1682930" cy="4001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end Success &amp; redirect the customer to APP Main page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6686728" y="2117341"/>
            <a:ext cx="1529586" cy="4001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Implicit Reg. (</a:t>
            </a:r>
            <a:r>
              <a:rPr lang="en-US" sz="1000" b="0" i="0" u="none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APIKey</a:t>
            </a:r>
            <a:r>
              <a:rPr lang="en-US" sz="10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,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direct </a:t>
            </a:r>
            <a:r>
              <a:rPr lang="en-US" sz="1000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url</a:t>
            </a: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, </a:t>
            </a:r>
            <a:r>
              <a:rPr lang="en-US" sz="1000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Usrname+pwd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6759887" y="2695574"/>
            <a:ext cx="1470274" cy="4001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turn (</a:t>
            </a:r>
            <a:r>
              <a:rPr lang="en-US" sz="1000" b="0" i="0" u="none" baseline="0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access_token_A</a:t>
            </a: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),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et Cookies SMSESSION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9032379" y="2180865"/>
            <a:ext cx="1168910" cy="4001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ush Data to GCDM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&amp; Create </a:t>
            </a:r>
            <a:r>
              <a:rPr lang="en-US" altLang="zh-CN" sz="1000" b="0" i="0" u="none" baseline="0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BuPa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9027144" y="2739739"/>
            <a:ext cx="1329210" cy="4001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turn Success/Failure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tatus to API GW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2905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003-S006-P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Existing User of Easy Finance Application When </a:t>
            </a:r>
            <a:r>
              <a:rPr lang="en-US" dirty="0" err="1"/>
              <a:t>i</a:t>
            </a:r>
            <a:r>
              <a:rPr lang="en-US" dirty="0"/>
              <a:t> trying to Register with Easy Application Finance, 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I </a:t>
            </a:r>
            <a:r>
              <a:rPr lang="en-US" dirty="0"/>
              <a:t>should be </a:t>
            </a:r>
            <a:r>
              <a:rPr lang="en-US" dirty="0" smtClean="0"/>
              <a:t>prompted to login.</a:t>
            </a:r>
            <a:endParaRPr lang="en-US" dirty="0"/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User is at the dealership; APP is not published to APP Store; </a:t>
            </a:r>
            <a:r>
              <a:rPr lang="en-US" sz="1600" dirty="0" smtClean="0">
                <a:solidFill>
                  <a:srgbClr val="D16F72"/>
                </a:solidFill>
                <a:latin typeface="+mj-lt"/>
              </a:rPr>
              <a:t>User </a:t>
            </a:r>
            <a:r>
              <a:rPr lang="en-US" sz="1600" u="sng" dirty="0" smtClean="0">
                <a:solidFill>
                  <a:srgbClr val="D16F72"/>
                </a:solidFill>
                <a:latin typeface="+mj-lt"/>
              </a:rPr>
              <a:t>have</a:t>
            </a:r>
            <a:r>
              <a:rPr lang="en-US" sz="1600" dirty="0" smtClean="0">
                <a:solidFill>
                  <a:srgbClr val="D16F72"/>
                </a:solidFill>
                <a:latin typeface="+mj-lt"/>
              </a:rPr>
              <a:t> a Existing BMW Web (GCDM) Account; 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Easy Finance APP to integrate with COP/GCDM; 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can only Download the </a:t>
            </a:r>
            <a:r>
              <a:rPr lang="en-US" sz="1600" dirty="0" smtClean="0">
                <a:solidFill>
                  <a:srgbClr val="172B4D"/>
                </a:solidFill>
              </a:rPr>
              <a:t>SF’s Easy Finance APP </a:t>
            </a:r>
            <a:r>
              <a:rPr lang="en-US" sz="1600" dirty="0">
                <a:solidFill>
                  <a:srgbClr val="172B4D"/>
                </a:solidFill>
              </a:rPr>
              <a:t>from the dealership using QR Code shared by the dealer. </a:t>
            </a:r>
          </a:p>
          <a:p>
            <a:r>
              <a:rPr lang="en-US" sz="1600" dirty="0">
                <a:solidFill>
                  <a:srgbClr val="172B4D"/>
                </a:solidFill>
              </a:rPr>
              <a:t>APP is Privately hosted and maintained by BMW Financial services. </a:t>
            </a:r>
            <a:endParaRPr lang="en-US" sz="1600" dirty="0" smtClean="0">
              <a:solidFill>
                <a:srgbClr val="172B4D"/>
              </a:solidFill>
            </a:endParaRP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GCDM Integration for APP user Profile Creation and Management. User Trying to register has/had a Existing BMW GCDM Account. 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SMS Trigger is Used for Mobile No. Verification.</a:t>
            </a:r>
            <a:endParaRPr lang="en-US" sz="1600" dirty="0">
              <a:latin typeface="+mj-lt"/>
            </a:endParaRPr>
          </a:p>
          <a:p>
            <a:pPr marL="0" lvl="0" indent="0">
              <a:buNone/>
            </a:pPr>
            <a:r>
              <a:rPr lang="en-US" sz="1600" u="sng" dirty="0">
                <a:solidFill>
                  <a:srgbClr val="00B0F0"/>
                </a:solidFill>
                <a:latin typeface="+mj-lt"/>
              </a:rPr>
              <a:t>Acceptance Criteria: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When the app is downloaded and started, Customer is Prompted with Welcome Page Registration or Login Button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If &amp; when Customer Tap on Registration button from the APP Customer is directed to Registration </a:t>
            </a:r>
            <a:r>
              <a:rPr lang="en-US" sz="1600" dirty="0">
                <a:solidFill>
                  <a:srgbClr val="172B4D"/>
                </a:solidFill>
                <a:latin typeface="+mj-lt"/>
              </a:rPr>
              <a:t>P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ge – Possible COP Integration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Customer Mobile no., Name is Mandatory, </a:t>
            </a:r>
            <a:r>
              <a:rPr lang="en-US" sz="1600" u="sng" dirty="0" smtClean="0">
                <a:solidFill>
                  <a:srgbClr val="172B4D"/>
                </a:solidFill>
                <a:latin typeface="+mj-lt"/>
              </a:rPr>
              <a:t>since Customer selected “Register with PIN” Customer is not given with </a:t>
            </a:r>
            <a:r>
              <a:rPr lang="en-US" sz="1600" u="sng" dirty="0">
                <a:solidFill>
                  <a:srgbClr val="172B4D"/>
                </a:solidFill>
                <a:latin typeface="+mj-lt"/>
              </a:rPr>
              <a:t>o</a:t>
            </a:r>
            <a:r>
              <a:rPr lang="en-US" sz="1600" u="sng" dirty="0" smtClean="0">
                <a:solidFill>
                  <a:srgbClr val="172B4D"/>
                </a:solidFill>
                <a:latin typeface="+mj-lt"/>
              </a:rPr>
              <a:t>ption to set PWD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Customer Accepts T&amp;C before tapping on send verification code to mobile. 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When the customer tap’s Send Verification code, COP/GCDM Check the GCDM DB and prompts Customer with message saying </a:t>
            </a:r>
            <a:r>
              <a:rPr lang="en-US" sz="1600" u="sng" dirty="0" smtClean="0">
                <a:solidFill>
                  <a:srgbClr val="D16F72"/>
                </a:solidFill>
                <a:latin typeface="+mj-lt"/>
              </a:rPr>
              <a:t>“ It looks like you already have an account for BMW” – please login with your BMW Web Account. </a:t>
            </a:r>
          </a:p>
          <a:p>
            <a:pPr marL="342900" lvl="0" indent="-342900">
              <a:buAutoNum type="arabicPeriod"/>
            </a:pPr>
            <a:r>
              <a:rPr lang="en-US" sz="1600" dirty="0">
                <a:solidFill>
                  <a:srgbClr val="172B4D"/>
                </a:solidFill>
                <a:latin typeface="+mj-lt"/>
              </a:rPr>
              <a:t>Will be handled by 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COP page if integrated with COP</a:t>
            </a: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/GCDM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.</a:t>
            </a:r>
            <a:endParaRPr lang="en-US" sz="1600" dirty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6" name="Rectangle 5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7" name="Rectangle 6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pliance</a:t>
            </a:r>
          </a:p>
        </p:txBody>
      </p:sp>
      <p:sp>
        <p:nvSpPr>
          <p:cNvPr id="12" name="Oval 11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5159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BMW Group 16:9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 w="9525">
          <a:solidFill>
            <a:srgbClr val="CCCCCC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FS_BMW+MINI+RR_Zusatzbegriff_E_16zu9.pptx" id="{84844328-F1CC-4A35-9085-C869E2533542}" vid="{09338282-BEEE-4034-A323-258CEF5B501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21</Words>
  <Application>Microsoft Office PowerPoint</Application>
  <PresentationFormat>Widescreen</PresentationFormat>
  <Paragraphs>164</Paragraphs>
  <Slides>9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BMW Type Global Pro Regular</vt:lpstr>
      <vt:lpstr>Arial</vt:lpstr>
      <vt:lpstr>BMW Group</vt:lpstr>
      <vt:lpstr>BMW Group Condensed</vt:lpstr>
      <vt:lpstr>BMW Group Condensed Bold</vt:lpstr>
      <vt:lpstr>BMW Group Light</vt:lpstr>
      <vt:lpstr>Symbol</vt:lpstr>
      <vt:lpstr>BMW Group 16:9</vt:lpstr>
      <vt:lpstr>PowerPoint Presentation</vt:lpstr>
      <vt:lpstr>EP003: Login</vt:lpstr>
      <vt:lpstr>Story ID: EP003-S004-PK:  </vt:lpstr>
      <vt:lpstr>Story ID: EP003-S005-PK: </vt:lpstr>
      <vt:lpstr>Story ID: EP003-S004-PK &amp; EP003-S005-PK:  </vt:lpstr>
      <vt:lpstr>Story ID: EP003-S004-PK &amp; EP003-S005-PK: </vt:lpstr>
      <vt:lpstr>Story ID: EP003-S004-PK &amp; EP003-S005-PK: </vt:lpstr>
      <vt:lpstr>Story ID: EP003-S004-PK &amp; EP003-S005-PK: </vt:lpstr>
      <vt:lpstr>Story ID: EP003-S006-PK</vt:lpstr>
    </vt:vector>
  </TitlesOfParts>
  <Company>BMW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rishnan Purush, (Purush.Krishnan@bmw.de)</dc:creator>
  <cp:lastModifiedBy>Krishnan Purush, (Purush.Krishnan@bmw.de)</cp:lastModifiedBy>
  <cp:revision>2</cp:revision>
  <dcterms:created xsi:type="dcterms:W3CDTF">2018-10-08T11:43:29Z</dcterms:created>
  <dcterms:modified xsi:type="dcterms:W3CDTF">2018-10-17T07:59:16Z</dcterms:modified>
</cp:coreProperties>
</file>